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684541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re Raynaud" initials="AR" lastIdx="1" clrIdx="0">
    <p:extLst>
      <p:ext uri="{19B8F6BF-5375-455C-9EA6-DF929625EA0E}">
        <p15:presenceInfo xmlns:p15="http://schemas.microsoft.com/office/powerpoint/2012/main" userId="S::alexandre.raynaud@veeva.com::62013f2f-fa8b-4728-ba61-7c17181a1d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74DB17-997E-4281-A707-B8384D03A2E6}" v="94" dt="2021-04-06T14:43:07.668"/>
    <p1510:client id="{BD2FAA63-9617-41CC-6C51-721B509147F0}" v="2" dt="2021-04-06T14:43:42.4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4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3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ommentAuthors" Target="commentAuthors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 Raynaud" userId="S::alexandre.raynaud@veeva.com::62013f2f-fa8b-4728-ba61-7c17181a1d4e" providerId="AD" clId="Web-{BD2FAA63-9617-41CC-6C51-721B509147F0}"/>
    <pc:docChg chg="">
      <pc:chgData name="Alexandre Raynaud" userId="S::alexandre.raynaud@veeva.com::62013f2f-fa8b-4728-ba61-7c17181a1d4e" providerId="AD" clId="Web-{BD2FAA63-9617-41CC-6C51-721B509147F0}" dt="2021-04-06T14:43:42.456" v="1"/>
      <pc:docMkLst>
        <pc:docMk/>
      </pc:docMkLst>
      <pc:sldChg chg="addCm modCm">
        <pc:chgData name="Alexandre Raynaud" userId="S::alexandre.raynaud@veeva.com::62013f2f-fa8b-4728-ba61-7c17181a1d4e" providerId="AD" clId="Web-{BD2FAA63-9617-41CC-6C51-721B509147F0}" dt="2021-04-06T14:43:42.456" v="1"/>
        <pc:sldMkLst>
          <pc:docMk/>
          <pc:sldMk cId="1705153677" sldId="2146845416"/>
        </pc:sldMkLst>
      </pc:sldChg>
    </pc:docChg>
  </pc:docChgLst>
  <pc:docChgLst>
    <pc:chgData name="Gareth Allott" userId="d67bc1e7-5e6e-4540-bcf9-468a02f7a83e" providerId="ADAL" clId="{4C74DB17-997E-4281-A707-B8384D03A2E6}"/>
    <pc:docChg chg="undo custSel modSld">
      <pc:chgData name="Gareth Allott" userId="d67bc1e7-5e6e-4540-bcf9-468a02f7a83e" providerId="ADAL" clId="{4C74DB17-997E-4281-A707-B8384D03A2E6}" dt="2021-04-06T16:42:26.848" v="233" actId="1592"/>
      <pc:docMkLst>
        <pc:docMk/>
      </pc:docMkLst>
      <pc:sldChg chg="addSp delSp modSp mod delCm modCm">
        <pc:chgData name="Gareth Allott" userId="d67bc1e7-5e6e-4540-bcf9-468a02f7a83e" providerId="ADAL" clId="{4C74DB17-997E-4281-A707-B8384D03A2E6}" dt="2021-04-06T16:42:26.848" v="233" actId="1592"/>
        <pc:sldMkLst>
          <pc:docMk/>
          <pc:sldMk cId="1705153677" sldId="2146845416"/>
        </pc:sldMkLst>
        <pc:spChg chg="add del mod">
          <ac:chgData name="Gareth Allott" userId="d67bc1e7-5e6e-4540-bcf9-468a02f7a83e" providerId="ADAL" clId="{4C74DB17-997E-4281-A707-B8384D03A2E6}" dt="2021-04-06T10:42:00.208" v="45" actId="478"/>
          <ac:spMkLst>
            <pc:docMk/>
            <pc:sldMk cId="1705153677" sldId="2146845416"/>
            <ac:spMk id="3" creationId="{2B66AE75-AA7D-4AF3-9939-C15587D51B35}"/>
          </ac:spMkLst>
        </pc:spChg>
        <pc:spChg chg="mod">
          <ac:chgData name="Gareth Allott" userId="d67bc1e7-5e6e-4540-bcf9-468a02f7a83e" providerId="ADAL" clId="{4C74DB17-997E-4281-A707-B8384D03A2E6}" dt="2021-04-06T14:42:18.826" v="152" actId="21"/>
          <ac:spMkLst>
            <pc:docMk/>
            <pc:sldMk cId="1705153677" sldId="2146845416"/>
            <ac:spMk id="7" creationId="{3E22B522-2B3E-4997-B65E-239B0C34E25E}"/>
          </ac:spMkLst>
        </pc:spChg>
        <pc:spChg chg="mod">
          <ac:chgData name="Gareth Allott" userId="d67bc1e7-5e6e-4540-bcf9-468a02f7a83e" providerId="ADAL" clId="{4C74DB17-997E-4281-A707-B8384D03A2E6}" dt="2021-04-06T10:40:22.282" v="32" actId="20577"/>
          <ac:spMkLst>
            <pc:docMk/>
            <pc:sldMk cId="1705153677" sldId="2146845416"/>
            <ac:spMk id="9" creationId="{B802C19F-6314-4309-BD0A-3DB2BCCC66AE}"/>
          </ac:spMkLst>
        </pc:spChg>
        <pc:spChg chg="add del mod">
          <ac:chgData name="Gareth Allott" userId="d67bc1e7-5e6e-4540-bcf9-468a02f7a83e" providerId="ADAL" clId="{4C74DB17-997E-4281-A707-B8384D03A2E6}" dt="2021-04-06T10:46:14.171" v="144"/>
          <ac:spMkLst>
            <pc:docMk/>
            <pc:sldMk cId="1705153677" sldId="2146845416"/>
            <ac:spMk id="15" creationId="{4F8E70CF-F6B3-4EEF-85F2-22C05FE9D864}"/>
          </ac:spMkLst>
        </pc:spChg>
        <pc:spChg chg="mod">
          <ac:chgData name="Gareth Allott" userId="d67bc1e7-5e6e-4540-bcf9-468a02f7a83e" providerId="ADAL" clId="{4C74DB17-997E-4281-A707-B8384D03A2E6}" dt="2021-04-06T14:42:50.920" v="195" actId="1036"/>
          <ac:spMkLst>
            <pc:docMk/>
            <pc:sldMk cId="1705153677" sldId="2146845416"/>
            <ac:spMk id="22" creationId="{00C220DA-BC30-45E3-AD67-07811E913CED}"/>
          </ac:spMkLst>
        </pc:spChg>
        <pc:spChg chg="mod">
          <ac:chgData name="Gareth Allott" userId="d67bc1e7-5e6e-4540-bcf9-468a02f7a83e" providerId="ADAL" clId="{4C74DB17-997E-4281-A707-B8384D03A2E6}" dt="2021-04-06T14:42:58.071" v="230" actId="1036"/>
          <ac:spMkLst>
            <pc:docMk/>
            <pc:sldMk cId="1705153677" sldId="2146845416"/>
            <ac:spMk id="25" creationId="{84383FF7-F8F6-474C-AB1D-FE7E602E959E}"/>
          </ac:spMkLst>
        </pc:spChg>
        <pc:spChg chg="add mod">
          <ac:chgData name="Gareth Allott" userId="d67bc1e7-5e6e-4540-bcf9-468a02f7a83e" providerId="ADAL" clId="{4C74DB17-997E-4281-A707-B8384D03A2E6}" dt="2021-04-06T10:44:33.041" v="138" actId="20577"/>
          <ac:spMkLst>
            <pc:docMk/>
            <pc:sldMk cId="1705153677" sldId="2146845416"/>
            <ac:spMk id="39" creationId="{E669CD78-0ED2-44E9-B452-B3B1FBD7DD06}"/>
          </ac:spMkLst>
        </pc:spChg>
        <pc:spChg chg="add del">
          <ac:chgData name="Gareth Allott" userId="d67bc1e7-5e6e-4540-bcf9-468a02f7a83e" providerId="ADAL" clId="{4C74DB17-997E-4281-A707-B8384D03A2E6}" dt="2021-04-06T14:42:22.457" v="154" actId="22"/>
          <ac:spMkLst>
            <pc:docMk/>
            <pc:sldMk cId="1705153677" sldId="2146845416"/>
            <ac:spMk id="40" creationId="{221E2BC6-D9C2-4886-B55E-B99F23FF5669}"/>
          </ac:spMkLst>
        </pc:spChg>
        <pc:spChg chg="add del mod">
          <ac:chgData name="Gareth Allott" userId="d67bc1e7-5e6e-4540-bcf9-468a02f7a83e" providerId="ADAL" clId="{4C74DB17-997E-4281-A707-B8384D03A2E6}" dt="2021-04-06T14:42:48.562" v="178"/>
          <ac:spMkLst>
            <pc:docMk/>
            <pc:sldMk cId="1705153677" sldId="2146845416"/>
            <ac:spMk id="41" creationId="{890A87EE-83D4-4222-9F3A-1DB0AD329993}"/>
          </ac:spMkLst>
        </pc:spChg>
        <pc:spChg chg="add mod">
          <ac:chgData name="Gareth Allott" userId="d67bc1e7-5e6e-4540-bcf9-468a02f7a83e" providerId="ADAL" clId="{4C74DB17-997E-4281-A707-B8384D03A2E6}" dt="2021-04-06T14:42:45.638" v="176" actId="20577"/>
          <ac:spMkLst>
            <pc:docMk/>
            <pc:sldMk cId="1705153677" sldId="2146845416"/>
            <ac:spMk id="42" creationId="{03858B3F-FC2D-49C3-B153-FD7E191E575F}"/>
          </ac:spMkLst>
        </pc:spChg>
        <pc:picChg chg="mod">
          <ac:chgData name="Gareth Allott" userId="d67bc1e7-5e6e-4540-bcf9-468a02f7a83e" providerId="ADAL" clId="{4C74DB17-997E-4281-A707-B8384D03A2E6}" dt="2021-04-06T14:42:50.920" v="195" actId="1036"/>
          <ac:picMkLst>
            <pc:docMk/>
            <pc:sldMk cId="1705153677" sldId="2146845416"/>
            <ac:picMk id="24" creationId="{24D18029-AF85-4AFF-93E3-5E44CB5757F3}"/>
          </ac:picMkLst>
        </pc:picChg>
        <pc:picChg chg="mod">
          <ac:chgData name="Gareth Allott" userId="d67bc1e7-5e6e-4540-bcf9-468a02f7a83e" providerId="ADAL" clId="{4C74DB17-997E-4281-A707-B8384D03A2E6}" dt="2021-04-06T14:42:58.071" v="230" actId="1036"/>
          <ac:picMkLst>
            <pc:docMk/>
            <pc:sldMk cId="1705153677" sldId="2146845416"/>
            <ac:picMk id="26" creationId="{953CE0B7-CA51-4E48-81EF-DB8D55461D41}"/>
          </ac:picMkLst>
        </pc:picChg>
        <pc:cxnChg chg="add mod">
          <ac:chgData name="Gareth Allott" userId="d67bc1e7-5e6e-4540-bcf9-468a02f7a83e" providerId="ADAL" clId="{4C74DB17-997E-4281-A707-B8384D03A2E6}" dt="2021-04-06T10:44:58.509" v="141" actId="208"/>
          <ac:cxnSpMkLst>
            <pc:docMk/>
            <pc:sldMk cId="1705153677" sldId="2146845416"/>
            <ac:cxnSpMk id="6" creationId="{F824ED52-449C-4E5F-8F4C-AA8577049CAC}"/>
          </ac:cxnSpMkLst>
        </pc:cxnChg>
        <pc:cxnChg chg="mod">
          <ac:chgData name="Gareth Allott" userId="d67bc1e7-5e6e-4540-bcf9-468a02f7a83e" providerId="ADAL" clId="{4C74DB17-997E-4281-A707-B8384D03A2E6}" dt="2021-04-06T14:42:54.088" v="196" actId="14100"/>
          <ac:cxnSpMkLst>
            <pc:docMk/>
            <pc:sldMk cId="1705153677" sldId="2146845416"/>
            <ac:cxnSpMk id="20" creationId="{36295910-E968-450B-B0D2-E00DC353933C}"/>
          </ac:cxnSpMkLst>
        </pc:cxnChg>
        <pc:cxnChg chg="mod">
          <ac:chgData name="Gareth Allott" userId="d67bc1e7-5e6e-4540-bcf9-468a02f7a83e" providerId="ADAL" clId="{4C74DB17-997E-4281-A707-B8384D03A2E6}" dt="2021-04-06T14:43:01.818" v="231" actId="14100"/>
          <ac:cxnSpMkLst>
            <pc:docMk/>
            <pc:sldMk cId="1705153677" sldId="2146845416"/>
            <ac:cxnSpMk id="27" creationId="{DC6FACA1-29F8-47BE-A541-BF868C263F59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319296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217674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85364170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848680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026096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96095864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611161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5243678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3247433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063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03915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927169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058337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46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D0D2A-F7FD-4CFE-A927-2653711A7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stream Pla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21AA40F-AF5C-4307-8CF0-409173304B3F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25928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365741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5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2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9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6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3</a:t>
                      </a:r>
                      <a:r>
                        <a:rPr lang="en-US" sz="800" baseline="30000" dirty="0"/>
                        <a:t>rd</a:t>
                      </a:r>
                      <a:r>
                        <a:rPr lang="en-US" sz="800" dirty="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0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7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4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E22B522-2B3E-4997-B65E-239B0C34E25E}"/>
              </a:ext>
            </a:extLst>
          </p:cNvPr>
          <p:cNvSpPr/>
          <p:nvPr/>
        </p:nvSpPr>
        <p:spPr bwMode="auto">
          <a:xfrm>
            <a:off x="676050" y="1683757"/>
            <a:ext cx="1295363" cy="27734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cope &amp; Deliverables Defini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100" dirty="0">
              <a:solidFill>
                <a:srgbClr val="000000"/>
              </a:solidFill>
              <a:latin typeface="Tahoma" pitchFamily="-107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</a:t>
            </a:r>
            <a:endParaRPr lang="en-GB" sz="1100" dirty="0">
              <a:solidFill>
                <a:schemeClr val="accent1"/>
              </a:solidFill>
              <a:latin typeface="Tahoma" pitchFamily="-107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Johan/Boris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100" b="1" dirty="0">
              <a:solidFill>
                <a:srgbClr val="000000"/>
              </a:solidFill>
              <a:latin typeface="Tahoma" pitchFamily="-107" charset="0"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4FFA8846-ED26-4509-AF17-6ED61F305B6D}"/>
              </a:ext>
            </a:extLst>
          </p:cNvPr>
          <p:cNvSpPr/>
          <p:nvPr/>
        </p:nvSpPr>
        <p:spPr bwMode="auto">
          <a:xfrm>
            <a:off x="2086798" y="1683756"/>
            <a:ext cx="4009202" cy="55610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doption Journey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2C19F-6314-4309-BD0A-3DB2BCCC66AE}"/>
              </a:ext>
            </a:extLst>
          </p:cNvPr>
          <p:cNvSpPr txBox="1"/>
          <p:nvPr/>
        </p:nvSpPr>
        <p:spPr>
          <a:xfrm>
            <a:off x="2036464" y="2548975"/>
            <a:ext cx="129536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eld Alignment Mee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0m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adder &lt;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-&gt; C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Mapping the existing CRM fields with the Adoption Ladder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ing whether additional fields could be added to CRM to better represent the journe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5CCFB-AD41-4184-BE81-53B5F8298AF7}"/>
              </a:ext>
            </a:extLst>
          </p:cNvPr>
          <p:cNvSpPr/>
          <p:nvPr/>
        </p:nvSpPr>
        <p:spPr bwMode="auto">
          <a:xfrm>
            <a:off x="3382161" y="2281916"/>
            <a:ext cx="2456577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 Field Requirements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916E0C0C-E8E8-4761-B908-FB819669B846}"/>
              </a:ext>
            </a:extLst>
          </p:cNvPr>
          <p:cNvSpPr/>
          <p:nvPr/>
        </p:nvSpPr>
        <p:spPr bwMode="auto">
          <a:xfrm>
            <a:off x="2567031" y="2281916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AC1EB2-F613-4994-836D-790F1C2568F5}"/>
              </a:ext>
            </a:extLst>
          </p:cNvPr>
          <p:cNvSpPr txBox="1"/>
          <p:nvPr/>
        </p:nvSpPr>
        <p:spPr>
          <a:xfrm>
            <a:off x="5251509" y="2793841"/>
            <a:ext cx="830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quirements sign-off for next spr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 mins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D9D51520-D058-40CA-A1F9-F7BB2D9B2CDB}"/>
              </a:ext>
            </a:extLst>
          </p:cNvPr>
          <p:cNvSpPr/>
          <p:nvPr/>
        </p:nvSpPr>
        <p:spPr bwMode="auto">
          <a:xfrm>
            <a:off x="6165908" y="1683756"/>
            <a:ext cx="5553512" cy="55610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Visualisations &amp; Measurement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41CD3F43-FC0F-4B89-AFB7-0698D0D1F115}"/>
              </a:ext>
            </a:extLst>
          </p:cNvPr>
          <p:cNvSpPr/>
          <p:nvPr/>
        </p:nvSpPr>
        <p:spPr bwMode="auto">
          <a:xfrm>
            <a:off x="4003314" y="2575530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A29D1DC7-9B4D-4FF1-A824-8752C9DE7492}"/>
              </a:ext>
            </a:extLst>
          </p:cNvPr>
          <p:cNvSpPr/>
          <p:nvPr/>
        </p:nvSpPr>
        <p:spPr bwMode="auto">
          <a:xfrm>
            <a:off x="5574485" y="2597503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FBA5AE-92EA-4E2E-A784-79D51BA53D6B}"/>
              </a:ext>
            </a:extLst>
          </p:cNvPr>
          <p:cNvSpPr txBox="1"/>
          <p:nvPr/>
        </p:nvSpPr>
        <p:spPr>
          <a:xfrm>
            <a:off x="3676143" y="2785452"/>
            <a:ext cx="830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M field alignment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 min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6295910-E968-450B-B0D2-E00DC353933C}"/>
              </a:ext>
            </a:extLst>
          </p:cNvPr>
          <p:cNvCxnSpPr>
            <a:cxnSpLocks/>
          </p:cNvCxnSpPr>
          <p:nvPr/>
        </p:nvCxnSpPr>
        <p:spPr bwMode="auto">
          <a:xfrm>
            <a:off x="6048463" y="2281916"/>
            <a:ext cx="0" cy="21055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0C220DA-BC30-45E3-AD67-07811E913CED}"/>
              </a:ext>
            </a:extLst>
          </p:cNvPr>
          <p:cNvSpPr txBox="1"/>
          <p:nvPr/>
        </p:nvSpPr>
        <p:spPr>
          <a:xfrm>
            <a:off x="5167619" y="4506278"/>
            <a:ext cx="16190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1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print Requirement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imple guide to demonstrate how the Adoption Ladders and CRM will be aligned</a:t>
            </a:r>
          </a:p>
        </p:txBody>
      </p:sp>
      <p:pic>
        <p:nvPicPr>
          <p:cNvPr id="24" name="Graphic 23" descr="List outline">
            <a:extLst>
              <a:ext uri="{FF2B5EF4-FFF2-40B4-BE49-F238E27FC236}">
                <a16:creationId xmlns:a16="http://schemas.microsoft.com/office/drawing/2014/main" id="{24D18029-AF85-4AFF-93E3-5E44CB5757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67619" y="4093316"/>
            <a:ext cx="387795" cy="38779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4383FF7-F8F6-474C-AB1D-FE7E602E959E}"/>
              </a:ext>
            </a:extLst>
          </p:cNvPr>
          <p:cNvSpPr txBox="1"/>
          <p:nvPr/>
        </p:nvSpPr>
        <p:spPr>
          <a:xfrm>
            <a:off x="9758828" y="4481111"/>
            <a:ext cx="211159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3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utline of the data &amp; analysis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ick win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approach for measuring Journey/Ladder execution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4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verview of the ‘next steps’ for operationalising/visualising Journeys – such as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yInsight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ashboard</a:t>
            </a:r>
          </a:p>
        </p:txBody>
      </p:sp>
      <p:pic>
        <p:nvPicPr>
          <p:cNvPr id="26" name="Graphic 25" descr="List outline">
            <a:extLst>
              <a:ext uri="{FF2B5EF4-FFF2-40B4-BE49-F238E27FC236}">
                <a16:creationId xmlns:a16="http://schemas.microsoft.com/office/drawing/2014/main" id="{953CE0B7-CA51-4E48-81EF-DB8D55461D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8828" y="4049981"/>
            <a:ext cx="387795" cy="387795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6FACA1-29F8-47BE-A541-BF868C263F59}"/>
              </a:ext>
            </a:extLst>
          </p:cNvPr>
          <p:cNvCxnSpPr>
            <a:cxnSpLocks/>
          </p:cNvCxnSpPr>
          <p:nvPr/>
        </p:nvCxnSpPr>
        <p:spPr bwMode="auto">
          <a:xfrm>
            <a:off x="11660697" y="2281916"/>
            <a:ext cx="0" cy="1988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C3D70EA7-B5F5-4F7E-8EF4-C3F8CE9E073B}"/>
              </a:ext>
            </a:extLst>
          </p:cNvPr>
          <p:cNvSpPr/>
          <p:nvPr/>
        </p:nvSpPr>
        <p:spPr bwMode="auto">
          <a:xfrm>
            <a:off x="6167305" y="2297416"/>
            <a:ext cx="2597792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Visualis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016482-1E29-4D0E-BE6A-55F98DF13FA1}"/>
              </a:ext>
            </a:extLst>
          </p:cNvPr>
          <p:cNvSpPr/>
          <p:nvPr/>
        </p:nvSpPr>
        <p:spPr bwMode="auto">
          <a:xfrm>
            <a:off x="8897225" y="2297416"/>
            <a:ext cx="2597792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Measurement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DBD6B2C8-E0FA-4783-AE17-D8AF22A4455C}"/>
              </a:ext>
            </a:extLst>
          </p:cNvPr>
          <p:cNvSpPr/>
          <p:nvPr/>
        </p:nvSpPr>
        <p:spPr bwMode="auto">
          <a:xfrm>
            <a:off x="6939462" y="2623308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FDC5D03-9161-4F96-B875-16CE5D17BA99}"/>
              </a:ext>
            </a:extLst>
          </p:cNvPr>
          <p:cNvSpPr txBox="1"/>
          <p:nvPr/>
        </p:nvSpPr>
        <p:spPr>
          <a:xfrm>
            <a:off x="6612291" y="2833230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ation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0-90 mins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F9F3A681-5CF4-45DC-87D0-003AD26948FE}"/>
              </a:ext>
            </a:extLst>
          </p:cNvPr>
          <p:cNvSpPr/>
          <p:nvPr/>
        </p:nvSpPr>
        <p:spPr bwMode="auto">
          <a:xfrm>
            <a:off x="8208114" y="2638808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8EE384-5D49-43DF-B9A2-9680FAA9EFC2}"/>
              </a:ext>
            </a:extLst>
          </p:cNvPr>
          <p:cNvSpPr txBox="1"/>
          <p:nvPr/>
        </p:nvSpPr>
        <p:spPr>
          <a:xfrm>
            <a:off x="7880943" y="2848730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pproach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5 mins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2BE8D019-D180-4C99-8FDF-2F18C554BB10}"/>
              </a:ext>
            </a:extLst>
          </p:cNvPr>
          <p:cNvSpPr/>
          <p:nvPr/>
        </p:nvSpPr>
        <p:spPr bwMode="auto">
          <a:xfrm>
            <a:off x="9507892" y="2658449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DFCDC69-B0CF-4AFC-97DA-460C14815FA0}"/>
              </a:ext>
            </a:extLst>
          </p:cNvPr>
          <p:cNvSpPr txBox="1"/>
          <p:nvPr/>
        </p:nvSpPr>
        <p:spPr>
          <a:xfrm>
            <a:off x="9180721" y="2868371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ation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0-90 mins</a:t>
            </a: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609CC6DF-B2D7-4CEA-A9F5-0FCE1A822CE3}"/>
              </a:ext>
            </a:extLst>
          </p:cNvPr>
          <p:cNvSpPr/>
          <p:nvPr/>
        </p:nvSpPr>
        <p:spPr bwMode="auto">
          <a:xfrm>
            <a:off x="10776544" y="2673949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72D3B14-1D33-42E7-B503-36FF7F766B05}"/>
              </a:ext>
            </a:extLst>
          </p:cNvPr>
          <p:cNvSpPr txBox="1"/>
          <p:nvPr/>
        </p:nvSpPr>
        <p:spPr>
          <a:xfrm>
            <a:off x="10449373" y="2883871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pproach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5 min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669CD78-0ED2-44E9-B452-B3B1FBD7DD06}"/>
              </a:ext>
            </a:extLst>
          </p:cNvPr>
          <p:cNvSpPr/>
          <p:nvPr/>
        </p:nvSpPr>
        <p:spPr bwMode="auto">
          <a:xfrm>
            <a:off x="6528032" y="3515802"/>
            <a:ext cx="2456577" cy="2515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/Adoption Field Alignment Implementation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F824ED52-449C-4E5F-8F4C-AA8577049CAC}"/>
              </a:ext>
            </a:extLst>
          </p:cNvPr>
          <p:cNvCxnSpPr>
            <a:stCxn id="10" idx="3"/>
            <a:endCxn id="39" idx="1"/>
          </p:cNvCxnSpPr>
          <p:nvPr/>
        </p:nvCxnSpPr>
        <p:spPr bwMode="auto">
          <a:xfrm>
            <a:off x="5838738" y="2407696"/>
            <a:ext cx="689294" cy="1233886"/>
          </a:xfrm>
          <a:prstGeom prst="bentConnector3">
            <a:avLst>
              <a:gd name="adj1" fmla="val 29310"/>
            </a:avLst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03858B3F-FC2D-49C3-B153-FD7E191E575F}"/>
              </a:ext>
            </a:extLst>
          </p:cNvPr>
          <p:cNvSpPr/>
          <p:nvPr/>
        </p:nvSpPr>
        <p:spPr bwMode="auto">
          <a:xfrm>
            <a:off x="702283" y="4883784"/>
            <a:ext cx="1295363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DP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TBC with Saad</a:t>
            </a:r>
          </a:p>
        </p:txBody>
      </p:sp>
    </p:spTree>
    <p:extLst>
      <p:ext uri="{BB962C8B-B14F-4D97-AF65-F5344CB8AC3E}">
        <p14:creationId xmlns:p14="http://schemas.microsoft.com/office/powerpoint/2010/main" val="1705153677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2BEFA1-FAD6-4916-B222-85C78A822B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099483-2619-4891-99AC-678C45B714A6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C8B2AF6-877C-4F14-9850-6674215967DC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4</TotalTime>
  <Words>191</Words>
  <Application>Microsoft Office PowerPoint</Application>
  <PresentationFormat>Widescreen</PresentationFormat>
  <Paragraphs>4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Tahoma</vt:lpstr>
      <vt:lpstr>Times</vt:lpstr>
      <vt:lpstr>Wingdings</vt:lpstr>
      <vt:lpstr>3_Galapagos_template_Basic</vt:lpstr>
      <vt:lpstr>think-cell Slide</vt:lpstr>
      <vt:lpstr>Workstream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tream Plan</dc:title>
  <dc:creator>Gareth Allott</dc:creator>
  <cp:lastModifiedBy>Gareth Allott</cp:lastModifiedBy>
  <cp:revision>1</cp:revision>
  <dcterms:created xsi:type="dcterms:W3CDTF">2021-04-06T10:38:28Z</dcterms:created>
  <dcterms:modified xsi:type="dcterms:W3CDTF">2021-04-06T16:4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